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8"/>
  </p:notesMasterIdLst>
  <p:handoutMasterIdLst>
    <p:handoutMasterId r:id="rId9"/>
  </p:handoutMasterIdLst>
  <p:sldIdLst>
    <p:sldId id="256" r:id="rId4"/>
    <p:sldId id="321" r:id="rId5"/>
    <p:sldId id="346" r:id="rId6"/>
    <p:sldId id="345" r:id="rId7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62" autoAdjust="0"/>
    <p:restoredTop sz="94364" autoAdjust="0"/>
  </p:normalViewPr>
  <p:slideViewPr>
    <p:cSldViewPr showGuides="1">
      <p:cViewPr>
        <p:scale>
          <a:sx n="80" d="100"/>
          <a:sy n="80" d="100"/>
        </p:scale>
        <p:origin x="180" y="-156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rson Santos" userId="6c4494c9-e300-475e-8570-19c96c3d8172" providerId="ADAL" clId="{B23C8B40-AD8D-4E56-93BA-25514E5730F6}"/>
    <pc:docChg chg="modSld">
      <pc:chgData name="Gerson Santos" userId="6c4494c9-e300-475e-8570-19c96c3d8172" providerId="ADAL" clId="{B23C8B40-AD8D-4E56-93BA-25514E5730F6}" dt="2020-02-06T21:46:05.143" v="127"/>
      <pc:docMkLst>
        <pc:docMk/>
      </pc:docMkLst>
      <pc:sldChg chg="addSp modSp">
        <pc:chgData name="Gerson Santos" userId="6c4494c9-e300-475e-8570-19c96c3d8172" providerId="ADAL" clId="{B23C8B40-AD8D-4E56-93BA-25514E5730F6}" dt="2020-02-06T21:46:05.143" v="127"/>
        <pc:sldMkLst>
          <pc:docMk/>
          <pc:sldMk cId="220032209" sldId="344"/>
        </pc:sldMkLst>
        <pc:spChg chg="mod">
          <ac:chgData name="Gerson Santos" userId="6c4494c9-e300-475e-8570-19c96c3d8172" providerId="ADAL" clId="{B23C8B40-AD8D-4E56-93BA-25514E5730F6}" dt="2020-02-06T21:44:20.589" v="26" actId="20577"/>
          <ac:spMkLst>
            <pc:docMk/>
            <pc:sldMk cId="220032209" sldId="344"/>
            <ac:spMk id="11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6:04.036" v="126" actId="1076"/>
          <ac:spMkLst>
            <pc:docMk/>
            <pc:sldMk cId="220032209" sldId="344"/>
            <ac:spMk id="13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4:36.572" v="50" actId="20577"/>
          <ac:spMkLst>
            <pc:docMk/>
            <pc:sldMk cId="220032209" sldId="344"/>
            <ac:spMk id="16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5:24.118" v="107" actId="20577"/>
          <ac:spMkLst>
            <pc:docMk/>
            <pc:sldMk cId="220032209" sldId="344"/>
            <ac:spMk id="17" creationId="{4997F601-006F-4BC7-9604-88E30DA500D9}"/>
          </ac:spMkLst>
        </pc:spChg>
        <pc:spChg chg="add">
          <ac:chgData name="Gerson Santos" userId="6c4494c9-e300-475e-8570-19c96c3d8172" providerId="ADAL" clId="{B23C8B40-AD8D-4E56-93BA-25514E5730F6}" dt="2020-02-06T21:46:05.143" v="127"/>
          <ac:spMkLst>
            <pc:docMk/>
            <pc:sldMk cId="220032209" sldId="344"/>
            <ac:spMk id="19" creationId="{EA04D008-B1AB-4DD1-889C-7079A8EF0260}"/>
          </ac:spMkLst>
        </pc:spChg>
        <pc:spChg chg="add">
          <ac:chgData name="Gerson Santos" userId="6c4494c9-e300-475e-8570-19c96c3d8172" providerId="ADAL" clId="{B23C8B40-AD8D-4E56-93BA-25514E5730F6}" dt="2020-02-06T21:46:05.143" v="127"/>
          <ac:spMkLst>
            <pc:docMk/>
            <pc:sldMk cId="220032209" sldId="344"/>
            <ac:spMk id="20" creationId="{A5748D94-CA9A-4C22-AA62-310CEB4FAD29}"/>
          </ac:spMkLst>
        </pc:spChg>
        <pc:spChg chg="mod">
          <ac:chgData name="Gerson Santos" userId="6c4494c9-e300-475e-8570-19c96c3d8172" providerId="ADAL" clId="{B23C8B40-AD8D-4E56-93BA-25514E5730F6}" dt="2020-02-06T21:44:47.551" v="68" actId="20577"/>
          <ac:spMkLst>
            <pc:docMk/>
            <pc:sldMk cId="220032209" sldId="344"/>
            <ac:spMk id="26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5:44.970" v="125" actId="20577"/>
          <ac:spMkLst>
            <pc:docMk/>
            <pc:sldMk cId="220032209" sldId="344"/>
            <ac:spMk id="27" creationId="{4997F601-006F-4BC7-9604-88E30DA500D9}"/>
          </ac:spMkLst>
        </pc:spChg>
      </pc:sldChg>
      <pc:sldChg chg="modSp">
        <pc:chgData name="Gerson Santos" userId="6c4494c9-e300-475e-8570-19c96c3d8172" providerId="ADAL" clId="{B23C8B40-AD8D-4E56-93BA-25514E5730F6}" dt="2020-02-06T18:06:52.837" v="3" actId="20577"/>
        <pc:sldMkLst>
          <pc:docMk/>
          <pc:sldMk cId="4208443087" sldId="346"/>
        </pc:sldMkLst>
        <pc:spChg chg="mod">
          <ac:chgData name="Gerson Santos" userId="6c4494c9-e300-475e-8570-19c96c3d8172" providerId="ADAL" clId="{B23C8B40-AD8D-4E56-93BA-25514E5730F6}" dt="2020-02-06T18:06:52.837" v="3" actId="20577"/>
          <ac:spMkLst>
            <pc:docMk/>
            <pc:sldMk cId="4208443087" sldId="346"/>
            <ac:spMk id="5" creationId="{00000000-0000-0000-0000-000000000000}"/>
          </ac:spMkLst>
        </pc:spChg>
      </pc:sldChg>
    </pc:docChg>
  </pc:docChgLst>
  <pc:docChgLst>
    <pc:chgData name="Gerson Santos" userId="6c4494c9-e300-475e-8570-19c96c3d8172" providerId="ADAL" clId="{D4EC3150-327C-4688-8FC6-2CAE0B207AE9}"/>
    <pc:docChg chg="modSld">
      <pc:chgData name="Gerson Santos" userId="6c4494c9-e300-475e-8570-19c96c3d8172" providerId="ADAL" clId="{D4EC3150-327C-4688-8FC6-2CAE0B207AE9}" dt="2019-07-30T16:10:42.336" v="16" actId="20577"/>
      <pc:docMkLst>
        <pc:docMk/>
      </pc:docMkLst>
      <pc:sldChg chg="modSp">
        <pc:chgData name="Gerson Santos" userId="6c4494c9-e300-475e-8570-19c96c3d8172" providerId="ADAL" clId="{D4EC3150-327C-4688-8FC6-2CAE0B207AE9}" dt="2019-07-30T16:10:42.336" v="16" actId="20577"/>
        <pc:sldMkLst>
          <pc:docMk/>
          <pc:sldMk cId="3555918169" sldId="321"/>
        </pc:sldMkLst>
        <pc:spChg chg="mod">
          <ac:chgData name="Gerson Santos" userId="6c4494c9-e300-475e-8570-19c96c3d8172" providerId="ADAL" clId="{D4EC3150-327C-4688-8FC6-2CAE0B207AE9}" dt="2019-07-30T16:10:42.336" v="16" actId="20577"/>
          <ac:spMkLst>
            <pc:docMk/>
            <pc:sldMk cId="3555918169" sldId="321"/>
            <ac:spMk id="5" creationId="{00000000-0000-0000-0000-000000000000}"/>
          </ac:spMkLst>
        </pc:spChg>
      </pc:sldChg>
    </pc:docChg>
  </pc:docChgLst>
  <pc:docChgLst>
    <pc:chgData name="Gerson" userId="6c4494c9-e300-475e-8570-19c96c3d8172" providerId="ADAL" clId="{D79A2BF3-94A2-4C37-B9BC-A6A77EA4B07A}"/>
    <pc:docChg chg="custSel modSld">
      <pc:chgData name="Gerson" userId="6c4494c9-e300-475e-8570-19c96c3d8172" providerId="ADAL" clId="{D79A2BF3-94A2-4C37-B9BC-A6A77EA4B07A}" dt="2020-08-07T18:00:31.967" v="116" actId="20577"/>
      <pc:docMkLst>
        <pc:docMk/>
      </pc:docMkLst>
      <pc:sldChg chg="delSp modSp mod">
        <pc:chgData name="Gerson" userId="6c4494c9-e300-475e-8570-19c96c3d8172" providerId="ADAL" clId="{D79A2BF3-94A2-4C37-B9BC-A6A77EA4B07A}" dt="2020-08-07T18:00:07.768" v="96" actId="20577"/>
        <pc:sldMkLst>
          <pc:docMk/>
          <pc:sldMk cId="220032209" sldId="344"/>
        </pc:sldMkLst>
        <pc:spChg chg="mod">
          <ac:chgData name="Gerson" userId="6c4494c9-e300-475e-8570-19c96c3d8172" providerId="ADAL" clId="{D79A2BF3-94A2-4C37-B9BC-A6A77EA4B07A}" dt="2020-08-07T17:59:29.423" v="68" actId="1036"/>
          <ac:spMkLst>
            <pc:docMk/>
            <pc:sldMk cId="220032209" sldId="344"/>
            <ac:spMk id="11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8:00:07.768" v="96" actId="20577"/>
          <ac:spMkLst>
            <pc:docMk/>
            <pc:sldMk cId="220032209" sldId="344"/>
            <ac:spMk id="12" creationId="{00000000-0000-0000-0000-000000000000}"/>
          </ac:spMkLst>
        </pc:spChg>
        <pc:spChg chg="mod">
          <ac:chgData name="Gerson" userId="6c4494c9-e300-475e-8570-19c96c3d8172" providerId="ADAL" clId="{D79A2BF3-94A2-4C37-B9BC-A6A77EA4B07A}" dt="2020-08-07T17:59:44.223" v="71" actId="108"/>
          <ac:spMkLst>
            <pc:docMk/>
            <pc:sldMk cId="220032209" sldId="344"/>
            <ac:spMk id="13" creationId="{4997F601-006F-4BC7-9604-88E30DA500D9}"/>
          </ac:spMkLst>
        </pc:spChg>
        <pc:spChg chg="del">
          <ac:chgData name="Gerson" userId="6c4494c9-e300-475e-8570-19c96c3d8172" providerId="ADAL" clId="{D79A2BF3-94A2-4C37-B9BC-A6A77EA4B07A}" dt="2020-08-07T17:59:21.835" v="58" actId="478"/>
          <ac:spMkLst>
            <pc:docMk/>
            <pc:sldMk cId="220032209" sldId="344"/>
            <ac:spMk id="19" creationId="{EA04D008-B1AB-4DD1-889C-7079A8EF0260}"/>
          </ac:spMkLst>
        </pc:spChg>
        <pc:spChg chg="del">
          <ac:chgData name="Gerson" userId="6c4494c9-e300-475e-8570-19c96c3d8172" providerId="ADAL" clId="{D79A2BF3-94A2-4C37-B9BC-A6A77EA4B07A}" dt="2020-08-07T17:59:23.292" v="59" actId="478"/>
          <ac:spMkLst>
            <pc:docMk/>
            <pc:sldMk cId="220032209" sldId="344"/>
            <ac:spMk id="20" creationId="{A5748D94-CA9A-4C22-AA62-310CEB4FAD29}"/>
          </ac:spMkLst>
        </pc:spChg>
        <pc:spChg chg="mod">
          <ac:chgData name="Gerson" userId="6c4494c9-e300-475e-8570-19c96c3d8172" providerId="ADAL" clId="{D79A2BF3-94A2-4C37-B9BC-A6A77EA4B07A}" dt="2020-08-07T17:59:56.376" v="79" actId="1037"/>
          <ac:spMkLst>
            <pc:docMk/>
            <pc:sldMk cId="220032209" sldId="344"/>
            <ac:spMk id="21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9:54.750" v="78" actId="1038"/>
          <ac:spMkLst>
            <pc:docMk/>
            <pc:sldMk cId="220032209" sldId="344"/>
            <ac:spMk id="22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9:44.223" v="71" actId="108"/>
          <ac:spMkLst>
            <pc:docMk/>
            <pc:sldMk cId="220032209" sldId="344"/>
            <ac:spMk id="35" creationId="{4997F601-006F-4BC7-9604-88E30DA500D9}"/>
          </ac:spMkLst>
        </pc:spChg>
      </pc:sldChg>
      <pc:sldChg chg="addSp delSp modSp mod">
        <pc:chgData name="Gerson" userId="6c4494c9-e300-475e-8570-19c96c3d8172" providerId="ADAL" clId="{D79A2BF3-94A2-4C37-B9BC-A6A77EA4B07A}" dt="2020-08-07T18:00:13.768" v="97"/>
        <pc:sldMkLst>
          <pc:docMk/>
          <pc:sldMk cId="2106379755" sldId="345"/>
        </pc:sldMkLst>
        <pc:spChg chg="add mod">
          <ac:chgData name="Gerson" userId="6c4494c9-e300-475e-8570-19c96c3d8172" providerId="ADAL" clId="{D79A2BF3-94A2-4C37-B9BC-A6A77EA4B07A}" dt="2020-08-07T17:59:11.908" v="57" actId="20577"/>
          <ac:spMkLst>
            <pc:docMk/>
            <pc:sldMk cId="2106379755" sldId="345"/>
            <ac:spMk id="2" creationId="{039DCBDD-8AE2-40E0-A72E-7CABDE0FB741}"/>
          </ac:spMkLst>
        </pc:spChg>
        <pc:spChg chg="mod">
          <ac:chgData name="Gerson" userId="6c4494c9-e300-475e-8570-19c96c3d8172" providerId="ADAL" clId="{D79A2BF3-94A2-4C37-B9BC-A6A77EA4B07A}" dt="2020-08-07T18:00:13.768" v="97"/>
          <ac:spMkLst>
            <pc:docMk/>
            <pc:sldMk cId="2106379755" sldId="345"/>
            <ac:spMk id="12" creationId="{00000000-0000-0000-0000-000000000000}"/>
          </ac:spMkLst>
        </pc:spChg>
        <pc:spChg chg="del">
          <ac:chgData name="Gerson" userId="6c4494c9-e300-475e-8570-19c96c3d8172" providerId="ADAL" clId="{D79A2BF3-94A2-4C37-B9BC-A6A77EA4B07A}" dt="2020-08-07T17:58:46.997" v="16" actId="478"/>
          <ac:spMkLst>
            <pc:docMk/>
            <pc:sldMk cId="2106379755" sldId="345"/>
            <ac:spMk id="17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39.140" v="10" actId="20577"/>
          <ac:spMkLst>
            <pc:docMk/>
            <pc:sldMk cId="2106379755" sldId="345"/>
            <ac:spMk id="19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43.435" v="15" actId="20577"/>
          <ac:spMkLst>
            <pc:docMk/>
            <pc:sldMk cId="2106379755" sldId="345"/>
            <ac:spMk id="20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53.276" v="22" actId="20577"/>
          <ac:spMkLst>
            <pc:docMk/>
            <pc:sldMk cId="2106379755" sldId="345"/>
            <ac:spMk id="23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57.671" v="27" actId="20577"/>
          <ac:spMkLst>
            <pc:docMk/>
            <pc:sldMk cId="2106379755" sldId="345"/>
            <ac:spMk id="24" creationId="{4997F601-006F-4BC7-9604-88E30DA500D9}"/>
          </ac:spMkLst>
        </pc:spChg>
        <pc:spChg chg="del">
          <ac:chgData name="Gerson" userId="6c4494c9-e300-475e-8570-19c96c3d8172" providerId="ADAL" clId="{D79A2BF3-94A2-4C37-B9BC-A6A77EA4B07A}" dt="2020-08-07T17:58:48.379" v="17" actId="478"/>
          <ac:spMkLst>
            <pc:docMk/>
            <pc:sldMk cId="2106379755" sldId="345"/>
            <ac:spMk id="35" creationId="{4997F601-006F-4BC7-9604-88E30DA500D9}"/>
          </ac:spMkLst>
        </pc:spChg>
      </pc:sldChg>
      <pc:sldChg chg="modSp mod">
        <pc:chgData name="Gerson" userId="6c4494c9-e300-475e-8570-19c96c3d8172" providerId="ADAL" clId="{D79A2BF3-94A2-4C37-B9BC-A6A77EA4B07A}" dt="2020-08-07T18:00:31.967" v="116" actId="20577"/>
        <pc:sldMkLst>
          <pc:docMk/>
          <pc:sldMk cId="4208443087" sldId="346"/>
        </pc:sldMkLst>
        <pc:spChg chg="mod">
          <ac:chgData name="Gerson" userId="6c4494c9-e300-475e-8570-19c96c3d8172" providerId="ADAL" clId="{D79A2BF3-94A2-4C37-B9BC-A6A77EA4B07A}" dt="2020-08-07T18:00:31.967" v="116" actId="20577"/>
          <ac:spMkLst>
            <pc:docMk/>
            <pc:sldMk cId="4208443087" sldId="346"/>
            <ac:spMk id="5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3/08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3/08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214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 smtClean="0">
                <a:solidFill>
                  <a:srgbClr val="253746"/>
                </a:solidFill>
                <a:latin typeface="Exo 2" panose="00000500000000000000" pitchFamily="50" charset="0"/>
              </a:rPr>
              <a:t>GRUPO 2</a:t>
            </a:r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r>
              <a:rPr lang="pt-BR" sz="2400" b="1" dirty="0"/>
              <a:t>Bruno Santana RA: 01201134</a:t>
            </a:r>
            <a:endParaRPr lang="pt-BR" sz="2400" dirty="0"/>
          </a:p>
          <a:p>
            <a:r>
              <a:rPr lang="pt-BR" sz="2400" b="1" dirty="0"/>
              <a:t>Gabriel Bezerra RA: 01201035</a:t>
            </a:r>
            <a:endParaRPr lang="pt-BR" sz="2400" dirty="0"/>
          </a:p>
          <a:p>
            <a:r>
              <a:rPr lang="pt-BR" sz="2400" b="1" dirty="0"/>
              <a:t>Graziela Lucena RA: 01201051</a:t>
            </a:r>
            <a:endParaRPr lang="pt-BR" sz="2400" dirty="0"/>
          </a:p>
          <a:p>
            <a:r>
              <a:rPr lang="pt-BR" sz="2400" b="1" dirty="0"/>
              <a:t>Raphael Moitinho RA: 01201123</a:t>
            </a:r>
            <a:endParaRPr lang="pt-BR" sz="2400" dirty="0"/>
          </a:p>
          <a:p>
            <a:r>
              <a:rPr lang="pt-BR" sz="2400" b="1" dirty="0" err="1"/>
              <a:t>Stefany</a:t>
            </a:r>
            <a:r>
              <a:rPr lang="pt-BR" sz="2400" b="1" dirty="0"/>
              <a:t> Batista RA: 01201103</a:t>
            </a:r>
            <a:endParaRPr lang="pt-BR" sz="2400" dirty="0"/>
          </a:p>
          <a:p>
            <a:r>
              <a:rPr lang="pt-BR" sz="2400" b="1" dirty="0"/>
              <a:t>Yuri de Jesus RA: 01201117</a:t>
            </a:r>
            <a:endParaRPr lang="pt-BR" sz="2400" dirty="0"/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Antigos)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 “Lixeira inteligente”  </a:t>
            </a: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– PLANO DE AÇÃ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201195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43043" y="1947004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I’S</a:t>
            </a:r>
          </a:p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(NODE)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57371" y="2124447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BLEMAS COM CONEXÃ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55154" y="2052439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99587" y="3729845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NTREGA DO PROJET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01612" y="1661540"/>
            <a:ext cx="1428962" cy="60084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FESSORES SEMPRE DISPONÍVEIS</a:t>
            </a:r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	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15467" y="2509416"/>
            <a:ext cx="2069704" cy="58671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1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TESSE DA EQUIPE EM BUSCAR CONHECIMENTO EXTERNO</a:t>
            </a:r>
            <a:endParaRPr lang="pt-BR" sz="11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280658" y="1788417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1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LANO ALTERNATIVO DE CONECÇÃO</a:t>
            </a:r>
            <a:endParaRPr lang="pt-BR" sz="11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286023" y="2728313"/>
            <a:ext cx="1473802" cy="64225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05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IOR INVESTIMENTO EM INFRAESTRUTURA</a:t>
            </a:r>
            <a:endParaRPr lang="pt-BR" sz="105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678347" y="1763217"/>
            <a:ext cx="1307824" cy="64036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PEITO ENTRE OS INTEGRANTES</a:t>
            </a:r>
            <a:endParaRPr lang="pt-BR" sz="12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039DCBDD-8AE2-40E0-A72E-7CABDE0FB741}"/>
              </a:ext>
            </a:extLst>
          </p:cNvPr>
          <p:cNvSpPr/>
          <p:nvPr/>
        </p:nvSpPr>
        <p:spPr>
          <a:xfrm>
            <a:off x="11756203" y="3575920"/>
            <a:ext cx="1301976" cy="57725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4 REUNIÕES SEMANAIS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43043" y="3555932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MODELO REMOTO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01612" y="3304324"/>
            <a:ext cx="1398151" cy="58682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MINUIR AS DISTRAÇÕES EM CASA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15467" y="4094037"/>
            <a:ext cx="1384296" cy="58671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1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OPERAÇÃO DOS FAMILIARES</a:t>
            </a:r>
            <a:endParaRPr lang="pt-BR" sz="11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43043" y="5140554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JETOS MULTIPLOS 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861701" y="4887392"/>
            <a:ext cx="1334598" cy="61190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DIMINISTRAR O TEMPO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91198" y="530076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OVAÇÃO DE TODA A EQUIP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039DCBDD-8AE2-40E0-A72E-7CABDE0FB741}"/>
              </a:ext>
            </a:extLst>
          </p:cNvPr>
          <p:cNvSpPr/>
          <p:nvPr/>
        </p:nvSpPr>
        <p:spPr>
          <a:xfrm>
            <a:off x="11756203" y="5245577"/>
            <a:ext cx="1301976" cy="59200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 INDIVIDUAL</a:t>
            </a:r>
            <a:endParaRPr lang="pt-BR" sz="12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039DCBDD-8AE2-40E0-A72E-7CABDE0FB741}"/>
              </a:ext>
            </a:extLst>
          </p:cNvPr>
          <p:cNvSpPr/>
          <p:nvPr/>
        </p:nvSpPr>
        <p:spPr>
          <a:xfrm>
            <a:off x="11756203" y="4328762"/>
            <a:ext cx="1301976" cy="56018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ERRAMENTA DE GESTÃO (ASAN)</a:t>
            </a:r>
            <a:endParaRPr lang="pt-BR" sz="12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039DCBDD-8AE2-40E0-A72E-7CABDE0FB741}"/>
              </a:ext>
            </a:extLst>
          </p:cNvPr>
          <p:cNvSpPr/>
          <p:nvPr/>
        </p:nvSpPr>
        <p:spPr>
          <a:xfrm>
            <a:off x="11684195" y="2606656"/>
            <a:ext cx="1301976" cy="59200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1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LABORAÇÃO NAS ATIVIDADES</a:t>
            </a:r>
            <a:endParaRPr lang="pt-BR" sz="11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039DCBDD-8AE2-40E0-A72E-7CABDE0FB741}"/>
              </a:ext>
            </a:extLst>
          </p:cNvPr>
          <p:cNvSpPr/>
          <p:nvPr/>
        </p:nvSpPr>
        <p:spPr>
          <a:xfrm>
            <a:off x="10280520" y="2764162"/>
            <a:ext cx="1301976" cy="59200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SPONIBILIDADE EM AUXILIAR </a:t>
            </a:r>
            <a:endParaRPr lang="pt-BR" sz="12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8898" y="1063070"/>
            <a:ext cx="1439786" cy="97580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200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UM MAIOR ALINHAMENTO ENTRE OS PROFESSORES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37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48</TotalTime>
  <Words>159</Words>
  <Application>Microsoft Office PowerPoint</Application>
  <PresentationFormat>Personalizar</PresentationFormat>
  <Paragraphs>45</Paragraphs>
  <Slides>4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6" baseType="lpstr">
      <vt:lpstr>Arial</vt:lpstr>
      <vt:lpstr>Calibri</vt:lpstr>
      <vt:lpstr>Exo 2</vt:lpstr>
      <vt:lpstr>MV Boli</vt:lpstr>
      <vt:lpstr>Simplon BP Medium</vt:lpstr>
      <vt:lpstr>Simplon BP Regular</vt:lpstr>
      <vt:lpstr>Simplon Oi Headline</vt:lpstr>
      <vt:lpstr>Tahoma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Aluno</cp:lastModifiedBy>
  <cp:revision>196</cp:revision>
  <dcterms:created xsi:type="dcterms:W3CDTF">2016-12-01T16:19:35Z</dcterms:created>
  <dcterms:modified xsi:type="dcterms:W3CDTF">2020-08-14T22:18:55Z</dcterms:modified>
</cp:coreProperties>
</file>